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9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4526" y="1555339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1926792"/>
            <a:ext cx="3886201" cy="387969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3450" y="1555338"/>
            <a:ext cx="3903772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1865" y="1944277"/>
            <a:ext cx="3905357" cy="38622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Betreiben Sie Ihr Unternehmen sicher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247362"/>
            <a:ext cx="7997825" cy="307975"/>
          </a:xfrm>
        </p:spPr>
        <p:txBody>
          <a:bodyPr/>
          <a:lstStyle/>
          <a:p>
            <a:r>
              <a:rPr lang="de-DE" dirty="0"/>
              <a:t>HMI-Migration auf Windows 10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</a:t>
            </a:r>
            <a:r>
              <a:rPr lang="fr-FR" altLang="fr-FR" sz="800" dirty="0" err="1">
                <a:solidFill>
                  <a:srgbClr val="000000"/>
                </a:solidFill>
              </a:rPr>
              <a:t>Obsoleszenz</a:t>
            </a:r>
            <a:r>
              <a:rPr lang="fr-FR" altLang="fr-FR" sz="800" dirty="0">
                <a:solidFill>
                  <a:srgbClr val="000000"/>
                </a:solidFill>
              </a:rPr>
              <a:t>, </a:t>
            </a:r>
            <a:r>
              <a:rPr lang="de-DE" sz="800" dirty="0">
                <a:solidFill>
                  <a:srgbClr val="000000"/>
                </a:solidFill>
              </a:rPr>
              <a:t>Effizienz,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Kostenoptimierung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fr-FR" altLang="en-US" sz="800" dirty="0" err="1"/>
              <a:t>Etikettierer</a:t>
            </a:r>
            <a:r>
              <a:rPr lang="fr-FR" altLang="en-US" sz="800" dirty="0"/>
              <a:t>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,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 Evolution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AX28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ACDC2C-5D5E-4617-8C36-77D94684A8E5}"/>
              </a:ext>
            </a:extLst>
          </p:cNvPr>
          <p:cNvSpPr/>
          <p:nvPr/>
        </p:nvSpPr>
        <p:spPr>
          <a:xfrm>
            <a:off x="639764" y="1944277"/>
            <a:ext cx="3889375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Verhindert längere Ausfallzeiten bei Ausfall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weiterte Cybersicherheitsfunktionen mit W10 verfügbar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20% schneller beim Systemstart und bei Touch-Vorgängen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Verbesserte Bildqualität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Bessere Hitzebeständigkeit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Steigert die Leistung und reduziert die Wartungskosten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de-DE" sz="1100" dirty="0">
              <a:solidFill>
                <a:srgbClr val="000000"/>
              </a:solidFill>
            </a:endParaRPr>
          </a:p>
          <a:p>
            <a:pPr>
              <a:buClr>
                <a:srgbClr val="C00000"/>
              </a:buClr>
            </a:pPr>
            <a:r>
              <a:rPr lang="de-DE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ist Zeit für ein Upgrade auf Windows 10!</a:t>
            </a:r>
            <a:endParaRPr lang="fr-FR" sz="11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D05F7E-809A-454A-94DB-3448B9C78963}"/>
              </a:ext>
            </a:extLst>
          </p:cNvPr>
          <p:cNvSpPr/>
          <p:nvPr/>
        </p:nvSpPr>
        <p:spPr>
          <a:xfrm>
            <a:off x="4741864" y="1944277"/>
            <a:ext cx="388937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Das neue System mit B &amp; R 2200 HMI-Panel auf Windows 10-Basis besteht aus einem neuen Plug &amp; Play-HMI mit derselben Bildschirmgröße wie Windows 10. Es umfasst die Verschlüsselung von Software-Backups und die Portierung von einer vorhandenen Plattform (WCE, W7…) auf W10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s werden keine Änderungen am Grafiklayout vorgenommen, sondern nur eine Konvertierung durchgeführt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s enthält Hardwarematerial und das Dokument mit den Installationsverfahren. Wenn eine Client-Server-Funktion vorhanden ist, muss auch das Bedienfeld des Gegenübers aktualisiert werden.</a:t>
            </a:r>
          </a:p>
        </p:txBody>
      </p:sp>
      <p:pic>
        <p:nvPicPr>
          <p:cNvPr id="18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6416DE9E-32EF-4CFC-B6BA-08DBDEC46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id="{205F9E73-174A-46E7-898F-C9AA917E76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2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06F123A-4669-47D3-BDA3-4DACD808C247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44A2A17-AB0E-4BD1-B411-41B99B18F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75593F9-D63E-45FA-9C4A-361EAA43D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EC7774D7-BFF4-4575-B898-FB83173644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3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57076F86-C4CC-42DA-B174-9567046EC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B5236E8A-D523-4BE5-BB7E-4F2C932D6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magine 27">
            <a:extLst>
              <a:ext uri="{FF2B5EF4-FFF2-40B4-BE49-F238E27FC236}">
                <a16:creationId xmlns:a16="http://schemas.microsoft.com/office/drawing/2014/main" id="{3FBD66E5-836C-4086-A714-F82617D1A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2">
            <a:extLst>
              <a:ext uri="{FF2B5EF4-FFF2-40B4-BE49-F238E27FC236}">
                <a16:creationId xmlns:a16="http://schemas.microsoft.com/office/drawing/2014/main" id="{6D3CE5A7-E499-45EF-976D-C26BDC87F5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FE0A759F-6FF1-4C8D-A391-52404A1B75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8" name="Rectangle 2">
            <a:extLst>
              <a:ext uri="{FF2B5EF4-FFF2-40B4-BE49-F238E27FC236}">
                <a16:creationId xmlns:a16="http://schemas.microsoft.com/office/drawing/2014/main" id="{19390282-4107-4C41-805B-8DC1D044E2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100</a:t>
            </a:r>
          </a:p>
        </p:txBody>
      </p:sp>
    </p:spTree>
    <p:extLst>
      <p:ext uri="{BB962C8B-B14F-4D97-AF65-F5344CB8AC3E}">
        <p14:creationId xmlns:p14="http://schemas.microsoft.com/office/powerpoint/2010/main" val="2221487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79</TotalTime>
  <Words>169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Betreiben Sie Ihr Unternehmen siche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6</cp:revision>
  <dcterms:created xsi:type="dcterms:W3CDTF">2018-02-10T17:04:39Z</dcterms:created>
  <dcterms:modified xsi:type="dcterms:W3CDTF">2021-05-18T12:2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22:16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